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2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tags/tag62.xml" ContentType="application/vnd.openxmlformats-officedocument.presentationml.tags+xml"/>
  <Override PartName="/ppt/notesSlides/notesSlide4.xml" ContentType="application/vnd.openxmlformats-officedocument.presentationml.notesSlide+xml"/>
  <Override PartName="/ppt/tags/tag63.xml" ContentType="application/vnd.openxmlformats-officedocument.presentationml.tags+xml"/>
  <Override PartName="/ppt/notesSlides/notesSlide5.xml" ContentType="application/vnd.openxmlformats-officedocument.presentationml.notesSlide+xml"/>
  <Override PartName="/ppt/tags/tag64.xml" ContentType="application/vnd.openxmlformats-officedocument.presentationml.tags+xml"/>
  <Override PartName="/ppt/notesSlides/notesSlide6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7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8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9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0.xml" ContentType="application/vnd.openxmlformats-officedocument.presentationml.notesSlide+xml"/>
  <Override PartName="/ppt/tags/tag73.xml" ContentType="application/vnd.openxmlformats-officedocument.presentationml.tags+xml"/>
  <Override PartName="/ppt/notesSlides/notesSlide11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2.xml" ContentType="application/vnd.openxmlformats-officedocument.presentationml.notesSlide+xml"/>
  <Override PartName="/ppt/tags/tag77.xml" ContentType="application/vnd.openxmlformats-officedocument.presentationml.tags+xml"/>
  <Override PartName="/ppt/notesSlides/notesSlide13.xml" ContentType="application/vnd.openxmlformats-officedocument.presentationml.notesSlide+xml"/>
  <Override PartName="/ppt/tags/tag78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8" r:id="rId2"/>
    <p:sldId id="260" r:id="rId3"/>
    <p:sldId id="257" r:id="rId4"/>
    <p:sldId id="261" r:id="rId5"/>
    <p:sldId id="262" r:id="rId6"/>
    <p:sldId id="263" r:id="rId7"/>
    <p:sldId id="264" r:id="rId8"/>
    <p:sldId id="267" r:id="rId9"/>
    <p:sldId id="268" r:id="rId10"/>
    <p:sldId id="276" r:id="rId11"/>
    <p:sldId id="277" r:id="rId12"/>
    <p:sldId id="278" r:id="rId13"/>
    <p:sldId id="275" r:id="rId14"/>
    <p:sldId id="274" r:id="rId15"/>
  </p:sldIdLst>
  <p:sldSz cx="9144000" cy="6858000" type="screen4x3"/>
  <p:notesSz cx="6858000" cy="9144000"/>
  <p:custDataLst>
    <p:tags r:id="rId17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132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F6F0"/>
    <a:srgbClr val="FBD5B5"/>
    <a:srgbClr val="B8CCE4"/>
    <a:srgbClr val="68CCE4"/>
    <a:srgbClr val="B9CDE5"/>
    <a:srgbClr val="95B3D7"/>
    <a:srgbClr val="1BA3B1"/>
    <a:srgbClr val="1CB0A9"/>
    <a:srgbClr val="00CC99"/>
    <a:srgbClr val="2440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17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630" y="132"/>
      </p:cViewPr>
      <p:guideLst>
        <p:guide orient="horz" pos="2160"/>
        <p:guide pos="2880"/>
        <p:guide pos="132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9/2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notesMaster" Target="../notesMasters/notes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4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6314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D52C1F3E-BB29-49E7-9332-E23C0ECD21B4}" type="slidenum">
              <a:rPr lang="en-US" sz="1200" smtClean="0">
                <a:latin typeface="Candara"/>
              </a:rPr>
              <a:pPr eaLnBrk="1" hangingPunct="1"/>
              <a:t>10</a:t>
            </a:fld>
            <a:endParaRPr lang="en-US" sz="1200">
              <a:latin typeface="Candara"/>
            </a:endParaRPr>
          </a:p>
        </p:txBody>
      </p:sp>
      <p:sp>
        <p:nvSpPr>
          <p:cNvPr id="65539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22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95463" y="1179513"/>
            <a:ext cx="10409238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20738" y="339725"/>
            <a:ext cx="5843587" cy="298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844830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72F7180-1971-4A80-9BD8-95EFC79DB8DD}" type="slidenum">
              <a:rPr lang="en-US" sz="1200" smtClean="0">
                <a:latin typeface="Candara"/>
              </a:rPr>
              <a:pPr eaLnBrk="1" hangingPunct="1"/>
              <a:t>11</a:t>
            </a:fld>
            <a:endParaRPr lang="en-US" sz="1200">
              <a:latin typeface="Candara"/>
            </a:endParaRPr>
          </a:p>
        </p:txBody>
      </p:sp>
      <p:sp>
        <p:nvSpPr>
          <p:cNvPr id="53251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32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-1776413" y="1179513"/>
            <a:ext cx="10410826" cy="7808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0538" y="322263"/>
            <a:ext cx="5876925" cy="3016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  <p:sp>
        <p:nvSpPr>
          <p:cNvPr id="53254" name="McK Initials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78613" y="47625"/>
            <a:ext cx="150812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911225"/>
            <a:r>
              <a:rPr lang="es-ES_tradnl" sz="600" i="1">
                <a:latin typeface="Candara"/>
                <a:sym typeface="Candara"/>
              </a:rPr>
              <a:t>INIT</a:t>
            </a:r>
          </a:p>
        </p:txBody>
      </p:sp>
      <p:sp>
        <p:nvSpPr>
          <p:cNvPr id="53255" name="McK Separator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490538" y="1452563"/>
            <a:ext cx="58753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9940" tIns="44970" rIns="89940" bIns="44970"/>
          <a:lstStyle/>
          <a:p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36848440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0528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D9466A8-1F92-47A7-B703-30F402239C48}" type="slidenum">
              <a:rPr lang="en-US" sz="1200" smtClean="0">
                <a:latin typeface="Candara"/>
              </a:rPr>
              <a:pPr eaLnBrk="1" hangingPunct="1"/>
              <a:t>13</a:t>
            </a:fld>
            <a:endParaRPr lang="en-US" sz="1200">
              <a:latin typeface="Candara"/>
            </a:endParaRPr>
          </a:p>
        </p:txBody>
      </p:sp>
      <p:sp>
        <p:nvSpPr>
          <p:cNvPr id="54275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427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550270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fld id="{3D9466A8-1F92-47A7-B703-30F402239C48}" type="slidenum">
              <a:rPr lang="en-US" sz="1200" smtClean="0">
                <a:latin typeface="Candara"/>
              </a:rPr>
              <a:pPr eaLnBrk="1" hangingPunct="1"/>
              <a:t>14</a:t>
            </a:fld>
            <a:endParaRPr lang="en-US" sz="1200">
              <a:latin typeface="Candara"/>
            </a:endParaRPr>
          </a:p>
        </p:txBody>
      </p:sp>
      <p:sp>
        <p:nvSpPr>
          <p:cNvPr id="54275" name="doc id"/>
          <p:cNvSpPr>
            <a:spLocks noGrp="1" noChangeArrowheads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cs-CZ"/>
              <a:t>LATAM-AAA123-20090130-</a:t>
            </a:r>
          </a:p>
        </p:txBody>
      </p:sp>
      <p:sp>
        <p:nvSpPr>
          <p:cNvPr id="5427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0535104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8862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6261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5434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0750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3968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7559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55972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567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4.png"/><Relationship Id="rId2" Type="http://schemas.openxmlformats.org/officeDocument/2006/relationships/tags" Target="../tags/tag10.xml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3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2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image" Target="../media/image1.emf"/><Relationship Id="rId5" Type="http://schemas.openxmlformats.org/officeDocument/2006/relationships/tags" Target="../tags/tag38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7.bin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0.xml"/><Relationship Id="rId11" Type="http://schemas.openxmlformats.org/officeDocument/2006/relationships/image" Target="../media/image2.jpeg"/><Relationship Id="rId5" Type="http://schemas.openxmlformats.org/officeDocument/2006/relationships/tags" Target="../tags/tag49.xml"/><Relationship Id="rId10" Type="http://schemas.openxmlformats.org/officeDocument/2006/relationships/image" Target="../media/image1.emf"/><Relationship Id="rId4" Type="http://schemas.openxmlformats.org/officeDocument/2006/relationships/tags" Target="../tags/tag48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9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38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9144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1838325" y="3383280"/>
            <a:ext cx="7305676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2313084" y="1690686"/>
            <a:ext cx="583311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313084" y="3467100"/>
            <a:ext cx="585216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313084" y="4248150"/>
            <a:ext cx="321945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989056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057274" y="-484331"/>
            <a:ext cx="3046330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4"/>
            <a:ext cx="9144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5498248" y="5557688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593" y="5666307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0" y="4617720"/>
            <a:ext cx="9144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590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143900" y="6356351"/>
            <a:ext cx="5429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253528" y="982470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913243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961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063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523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477678" y="0"/>
            <a:ext cx="8666321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19150" y="433512"/>
            <a:ext cx="7318788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352425" y="-398782"/>
            <a:ext cx="983076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>
                <a:solidFill>
                  <a:schemeClr val="lt1"/>
                </a:solidFill>
              </a:endParaRPr>
            </a:p>
          </p:txBody>
        </p:sp>
      </p:grpSp>
      <p:pic>
        <p:nvPicPr>
          <p:cNvPr id="12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7181853" y="6198201"/>
            <a:ext cx="684423" cy="637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3738" y="6305273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 rot="10800000" flipH="1" flipV="1">
            <a:off x="-1" y="6724298"/>
            <a:ext cx="7038975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4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06613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2374900" y="3683000"/>
            <a:ext cx="5956300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5358548" y="5811900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893" y="5920519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344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2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256305" y="1250343"/>
            <a:ext cx="7529885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4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26153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286246" y="1250344"/>
            <a:ext cx="8579458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674100" y="6451341"/>
            <a:ext cx="432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1031" name="E719C35A-4CD6-4178-B0D0-8DA208F1799A" descr="E719C35A-4CD6-4178-B0D0-8DA208F1799A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 rotWithShape="1">
          <a:blip r:embed="rId2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6877050" y="6288821"/>
            <a:ext cx="618324" cy="576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3324" y="6363329"/>
            <a:ext cx="973145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286246" y="262340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 userDrawn="1">
            <p:custDataLst>
              <p:tags r:id="rId17"/>
            </p:custDataLst>
          </p:nvPr>
        </p:nvSpPr>
        <p:spPr>
          <a:xfrm rot="10800000" flipH="1" flipV="1">
            <a:off x="285252" y="1059059"/>
            <a:ext cx="8589667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8"/>
            </p:custDataLst>
          </p:nvPr>
        </p:nvSpPr>
        <p:spPr>
          <a:xfrm rot="10800000" flipH="1" flipV="1">
            <a:off x="-1" y="6724298"/>
            <a:ext cx="6717507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73" r:id="rId5"/>
    <p:sldLayoutId id="2147483667" r:id="rId6"/>
    <p:sldLayoutId id="2147483674" r:id="rId7"/>
    <p:sldLayoutId id="2147483672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1.emf"/><Relationship Id="rId2" Type="http://schemas.openxmlformats.org/officeDocument/2006/relationships/tags" Target="../tags/tag5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tags" Target="../tags/tag72.xml"/><Relationship Id="rId7" Type="http://schemas.openxmlformats.org/officeDocument/2006/relationships/image" Target="../media/image15.emf"/><Relationship Id="rId2" Type="http://schemas.openxmlformats.org/officeDocument/2006/relationships/tags" Target="../tags/tag71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jpeg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8.png"/><Relationship Id="rId2" Type="http://schemas.openxmlformats.org/officeDocument/2006/relationships/tags" Target="../tags/tag7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9.emf"/><Relationship Id="rId2" Type="http://schemas.openxmlformats.org/officeDocument/2006/relationships/tags" Target="../tags/tag7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0.emf"/><Relationship Id="rId2" Type="http://schemas.openxmlformats.org/officeDocument/2006/relationships/tags" Target="../tags/tag7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jpeg"/><Relationship Id="rId2" Type="http://schemas.openxmlformats.org/officeDocument/2006/relationships/tags" Target="../tags/tag6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6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.png"/><Relationship Id="rId2" Type="http://schemas.openxmlformats.org/officeDocument/2006/relationships/tags" Target="../tags/tag6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png"/><Relationship Id="rId2" Type="http://schemas.openxmlformats.org/officeDocument/2006/relationships/tags" Target="../tags/tag6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66.xml"/><Relationship Id="rId7" Type="http://schemas.openxmlformats.org/officeDocument/2006/relationships/image" Target="../media/image7.emf"/><Relationship Id="rId2" Type="http://schemas.openxmlformats.org/officeDocument/2006/relationships/tags" Target="../tags/tag65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68.xml"/><Relationship Id="rId7" Type="http://schemas.openxmlformats.org/officeDocument/2006/relationships/image" Target="../media/image7.emf"/><Relationship Id="rId2" Type="http://schemas.openxmlformats.org/officeDocument/2006/relationships/tags" Target="../tags/tag67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70.xml"/><Relationship Id="rId7" Type="http://schemas.openxmlformats.org/officeDocument/2006/relationships/image" Target="../media/image7.emf"/><Relationship Id="rId2" Type="http://schemas.openxmlformats.org/officeDocument/2006/relationships/tags" Target="../tags/tag6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28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2313084" y="1690686"/>
            <a:ext cx="5833110" cy="1470025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Avances Modo Portuario</a:t>
            </a:r>
          </a:p>
        </p:txBody>
      </p:sp>
      <p:sp>
        <p:nvSpPr>
          <p:cNvPr id="132" name="Text Placeholder 13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313084" y="4248150"/>
            <a:ext cx="3219450" cy="361950"/>
          </a:xfrm>
        </p:spPr>
        <p:txBody>
          <a:bodyPr/>
          <a:lstStyle/>
          <a:p>
            <a:r>
              <a:rPr lang="es-ES" dirty="0"/>
              <a:t>Septiembre de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8504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Rectangle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0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sym typeface="Candara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102659" y="215153"/>
            <a:ext cx="64142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andara" pitchFamily="34" charset="0"/>
                <a:ea typeface="+mj-ea"/>
                <a:cs typeface="+mj-cs"/>
              </a:rPr>
              <a:t>Sociedad Portuaria Bavaria S.A.</a:t>
            </a: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6504636"/>
              </p:ext>
            </p:extLst>
          </p:nvPr>
        </p:nvGraphicFramePr>
        <p:xfrm>
          <a:off x="1290302" y="4805519"/>
          <a:ext cx="6096000" cy="1554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Inversión Programada</a:t>
                      </a:r>
                      <a:r>
                        <a:rPr lang="es-CO" baseline="0" dirty="0"/>
                        <a:t> 2016</a:t>
                      </a:r>
                      <a:r>
                        <a:rPr lang="es-CO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dirty="0"/>
                        <a:t> Inversión</a:t>
                      </a:r>
                      <a:r>
                        <a:rPr lang="es-CO" baseline="0" dirty="0"/>
                        <a:t> Ejecutada a  Agosto de  2016</a:t>
                      </a:r>
                      <a:endParaRPr lang="es-C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08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SD</a:t>
                      </a:r>
                      <a:r>
                        <a:rPr lang="es-CO" sz="18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       </a:t>
                      </a:r>
                      <a:r>
                        <a:rPr lang="es-CO" sz="1800" b="1" kern="1200" baseline="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CO" sz="1800" b="1" kern="120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160.000 </a:t>
                      </a:r>
                      <a:r>
                        <a:rPr lang="es-CO" sz="18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     </a:t>
                      </a:r>
                      <a:endParaRPr lang="es-CO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</a:t>
                      </a:r>
                      <a:r>
                        <a:rPr lang="es-CO" sz="18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s-CO" sz="1800" b="1" kern="120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$            75.595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800" b="1" kern="1200" baseline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baseline="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s-CO" sz="18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Imagen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07274" y="1403797"/>
            <a:ext cx="4377438" cy="3264794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741"/>
          <a:stretch/>
        </p:blipFill>
        <p:spPr>
          <a:xfrm>
            <a:off x="4433691" y="1357937"/>
            <a:ext cx="3083215" cy="33404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4982439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650" name="Rectangle 3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3"/>
          <p:cNvSpPr txBox="1">
            <a:spLocks noGrp="1"/>
          </p:cNvSpPr>
          <p:nvPr>
            <p:ph type="title"/>
          </p:nvPr>
        </p:nvSpPr>
        <p:spPr>
          <a:xfrm>
            <a:off x="286246" y="580122"/>
            <a:ext cx="859536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andara" pitchFamily="34" charset="0"/>
                <a:ea typeface="+mj-ea"/>
                <a:cs typeface="+mj-cs"/>
              </a:rPr>
              <a:t>Sociedad Portuaria Oiltanking Colombia S.A.</a:t>
            </a: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7613045"/>
              </p:ext>
            </p:extLst>
          </p:nvPr>
        </p:nvGraphicFramePr>
        <p:xfrm>
          <a:off x="1184853" y="5011581"/>
          <a:ext cx="6735654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78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678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Inversión Programada</a:t>
                      </a:r>
                      <a:r>
                        <a:rPr lang="es-CO" baseline="0" dirty="0"/>
                        <a:t> 2016</a:t>
                      </a:r>
                      <a:r>
                        <a:rPr lang="es-CO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dirty="0"/>
                        <a:t> Inversión</a:t>
                      </a:r>
                      <a:r>
                        <a:rPr lang="es-CO" baseline="0" dirty="0"/>
                        <a:t> Ejecutada a  Agosto de  2016</a:t>
                      </a:r>
                      <a:endParaRPr lang="es-C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08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SD</a:t>
                      </a:r>
                      <a:r>
                        <a:rPr lang="es-CO" sz="18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         1.202.650 </a:t>
                      </a:r>
                      <a:endParaRPr lang="es-CO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</a:t>
                      </a:r>
                      <a:r>
                        <a:rPr lang="es-CO" sz="18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            620.845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1560" name="Picture 56" descr="https://c1.staticflickr.com/1/572/20902686122_667c307541_m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496" y="1333139"/>
            <a:ext cx="5864860" cy="3274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5288816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/>
          <p:cNvSpPr/>
          <p:nvPr/>
        </p:nvSpPr>
        <p:spPr>
          <a:xfrm>
            <a:off x="790234" y="323138"/>
            <a:ext cx="800712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Sociedad Portuaria Refinería de Cartagena - REFICAR</a:t>
            </a:r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5991185"/>
              </p:ext>
            </p:extLst>
          </p:nvPr>
        </p:nvGraphicFramePr>
        <p:xfrm>
          <a:off x="1645023" y="4368796"/>
          <a:ext cx="609600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Inversión Programada</a:t>
                      </a:r>
                      <a:r>
                        <a:rPr lang="es-CO" baseline="0" dirty="0"/>
                        <a:t> 2016</a:t>
                      </a:r>
                      <a:r>
                        <a:rPr lang="es-CO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 Inversión</a:t>
                      </a:r>
                      <a:r>
                        <a:rPr lang="es-CO" baseline="0" dirty="0"/>
                        <a:t> Ejecutada a  Abril de  2016</a:t>
                      </a:r>
                      <a:endParaRPr lang="es-C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sz="1800" b="1" i="0" u="none" strike="noStrike" dirty="0">
                          <a:solidFill>
                            <a:srgbClr val="386295"/>
                          </a:solidFill>
                          <a:effectLst/>
                          <a:latin typeface="Calibri" charset="0"/>
                        </a:rPr>
                        <a:t>USD $ 9.718.07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 </a:t>
                      </a:r>
                      <a:r>
                        <a:rPr lang="es-CO" sz="1800" b="1" i="0" u="none" strike="noStrike" kern="1200" dirty="0">
                          <a:solidFill>
                            <a:srgbClr val="386295"/>
                          </a:solidFill>
                          <a:effectLst/>
                          <a:latin typeface="Calibri" charset="0"/>
                          <a:ea typeface="+mn-ea"/>
                          <a:cs typeface="+mn-cs"/>
                        </a:rPr>
                        <a:t>USD $ 654.9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Imagen 6"/>
          <p:cNvPicPr/>
          <p:nvPr/>
        </p:nvPicPr>
        <p:blipFill rotWithShape="1">
          <a:blip r:embed="rId7"/>
          <a:srcRect l="14256" t="8151" r="13611" b="11249"/>
          <a:stretch/>
        </p:blipFill>
        <p:spPr bwMode="auto">
          <a:xfrm>
            <a:off x="1579739" y="1349491"/>
            <a:ext cx="6161284" cy="278031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2131307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6"/>
          <p:cNvSpPr>
            <a:spLocks noChangeArrowheads="1"/>
          </p:cNvSpPr>
          <p:nvPr/>
        </p:nvSpPr>
        <p:spPr bwMode="auto">
          <a:xfrm>
            <a:off x="88901" y="995955"/>
            <a:ext cx="8915400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400" b="1" dirty="0">
                <a:effectLst/>
                <a:latin typeface="Calibri"/>
                <a:ea typeface="Times New Roman"/>
                <a:cs typeface="Times New Roman"/>
              </a:rPr>
              <a:t>INTERVENTORIAS EN EJECUCION</a:t>
            </a:r>
          </a:p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400" b="1" dirty="0">
                <a:effectLst/>
                <a:latin typeface="Calibri"/>
                <a:ea typeface="Times New Roman"/>
                <a:cs typeface="Times New Roman"/>
              </a:rPr>
              <a:t> MODO PORTUARIO</a:t>
            </a:r>
            <a:endParaRPr lang="es-CO" sz="3400" dirty="0">
              <a:effectLst/>
              <a:latin typeface="Calibri"/>
              <a:ea typeface="Times New Roman"/>
              <a:cs typeface="Times New Roman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95500" y="1827334"/>
            <a:ext cx="4313816" cy="4843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7137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6"/>
          <p:cNvSpPr>
            <a:spLocks noChangeArrowheads="1"/>
          </p:cNvSpPr>
          <p:nvPr/>
        </p:nvSpPr>
        <p:spPr bwMode="auto">
          <a:xfrm>
            <a:off x="88901" y="995955"/>
            <a:ext cx="8915400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400" b="1" dirty="0">
                <a:effectLst/>
                <a:latin typeface="Calibri"/>
                <a:ea typeface="Times New Roman"/>
                <a:cs typeface="Times New Roman"/>
              </a:rPr>
              <a:t>INTERVENTORIAS CONTRATADAS</a:t>
            </a:r>
          </a:p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400" b="1" dirty="0">
                <a:effectLst/>
                <a:latin typeface="Calibri"/>
                <a:ea typeface="Times New Roman"/>
                <a:cs typeface="Times New Roman"/>
              </a:rPr>
              <a:t> VIGENCIA 2016 MODO PORTUARIO</a:t>
            </a:r>
            <a:endParaRPr lang="es-CO" sz="3400" dirty="0">
              <a:effectLst/>
              <a:latin typeface="Calibri"/>
              <a:ea typeface="Times New Roman"/>
              <a:cs typeface="Times New Roman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6535" y="2006600"/>
            <a:ext cx="6811318" cy="4291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62595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91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3664" y="1412776"/>
            <a:ext cx="5085560" cy="4085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3921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771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Rectangle 16"/>
          <p:cNvSpPr>
            <a:spLocks noChangeArrowheads="1"/>
          </p:cNvSpPr>
          <p:nvPr/>
        </p:nvSpPr>
        <p:spPr bwMode="auto">
          <a:xfrm>
            <a:off x="1136576" y="1124744"/>
            <a:ext cx="6493242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600" b="1" dirty="0">
                <a:effectLst/>
                <a:latin typeface="Calibri"/>
                <a:ea typeface="Times New Roman"/>
                <a:cs typeface="Times New Roman"/>
              </a:rPr>
              <a:t>AVANCES MODO PORTUARIO</a:t>
            </a:r>
            <a:endParaRPr lang="es-CO" sz="1400" dirty="0">
              <a:effectLst/>
              <a:latin typeface="Calibri"/>
              <a:ea typeface="Times New Roman"/>
              <a:cs typeface="Times New Roman"/>
            </a:endParaRPr>
          </a:p>
        </p:txBody>
      </p:sp>
      <p:pic>
        <p:nvPicPr>
          <p:cNvPr id="6" name="Imagen 5"/>
          <p:cNvPicPr/>
          <p:nvPr/>
        </p:nvPicPr>
        <p:blipFill rotWithShape="1">
          <a:blip r:embed="rId7" cstate="print"/>
          <a:srcRect l="7786" r="7675"/>
          <a:stretch/>
        </p:blipFill>
        <p:spPr bwMode="auto">
          <a:xfrm>
            <a:off x="1712640" y="2105536"/>
            <a:ext cx="5256584" cy="326768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3122415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72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ángulo 13"/>
          <p:cNvSpPr/>
          <p:nvPr/>
        </p:nvSpPr>
        <p:spPr>
          <a:xfrm>
            <a:off x="1928664" y="487730"/>
            <a:ext cx="6205738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Modo Portuario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2144688" y="1195616"/>
            <a:ext cx="50629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3600" dirty="0"/>
              <a:t>Metas 2016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1412593" y="1759739"/>
            <a:ext cx="69380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dirty="0"/>
              <a:t>Para el año 2016 se planea una meta de inversión  de USD $ 135.112.194 – a Agosto se ha ejecutado un 61% de la Meta 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6677" y="2611388"/>
            <a:ext cx="4008192" cy="3883541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79576" y="2898914"/>
            <a:ext cx="4290823" cy="320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8435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ángulo 16"/>
          <p:cNvSpPr/>
          <p:nvPr/>
        </p:nvSpPr>
        <p:spPr>
          <a:xfrm>
            <a:off x="749806" y="323138"/>
            <a:ext cx="8087984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Sociedad Portuaria Puerto Industrial Agua Dulce S.A  </a:t>
            </a:r>
            <a:endParaRPr lang="es-ES" sz="28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4336284"/>
              </p:ext>
            </p:extLst>
          </p:nvPr>
        </p:nvGraphicFramePr>
        <p:xfrm>
          <a:off x="1645023" y="4368796"/>
          <a:ext cx="609600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Inversión Programada</a:t>
                      </a:r>
                      <a:r>
                        <a:rPr lang="es-CO" baseline="0" dirty="0"/>
                        <a:t> 2016</a:t>
                      </a:r>
                      <a:r>
                        <a:rPr lang="es-CO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 Inversión</a:t>
                      </a:r>
                      <a:r>
                        <a:rPr lang="es-CO" baseline="0" dirty="0"/>
                        <a:t> Ejecutada a  Agosto de  2016</a:t>
                      </a:r>
                      <a:endParaRPr lang="es-C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ES" sz="1800" b="1" i="0" u="none" strike="noStrike" dirty="0">
                          <a:solidFill>
                            <a:srgbClr val="386295"/>
                          </a:solidFill>
                          <a:effectLst/>
                          <a:latin typeface="Calibri" charset="0"/>
                        </a:rPr>
                        <a:t>USD $ 32.047.932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 </a:t>
                      </a:r>
                      <a:r>
                        <a:rPr lang="es-CO" sz="1800" b="1" i="0" u="none" strike="noStrike" kern="1200" dirty="0">
                          <a:solidFill>
                            <a:srgbClr val="386295"/>
                          </a:solidFill>
                          <a:effectLst/>
                          <a:latin typeface="Calibri" charset="0"/>
                          <a:ea typeface="+mn-ea"/>
                          <a:cs typeface="+mn-cs"/>
                        </a:rPr>
                        <a:t>USD $</a:t>
                      </a:r>
                      <a:r>
                        <a:rPr lang="es-CO" sz="1800" b="1" i="0" u="none" strike="noStrike" kern="1200" baseline="0" dirty="0">
                          <a:solidFill>
                            <a:srgbClr val="386295"/>
                          </a:solidFill>
                          <a:effectLst/>
                          <a:latin typeface="Calibri" charset="0"/>
                          <a:ea typeface="+mn-ea"/>
                          <a:cs typeface="+mn-cs"/>
                        </a:rPr>
                        <a:t>  17.343.966 </a:t>
                      </a:r>
                      <a:endParaRPr lang="es-CO" sz="1800" b="1" i="0" u="none" strike="noStrike" kern="1200" dirty="0">
                        <a:solidFill>
                          <a:srgbClr val="386295"/>
                        </a:solidFill>
                        <a:effectLst/>
                        <a:latin typeface="Calibri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Imagen 8"/>
          <p:cNvPicPr/>
          <p:nvPr/>
        </p:nvPicPr>
        <p:blipFill rotWithShape="1">
          <a:blip r:embed="rId7"/>
          <a:srcRect l="22134" t="25955" r="23153" b="24509"/>
          <a:stretch/>
        </p:blipFill>
        <p:spPr bwMode="auto">
          <a:xfrm>
            <a:off x="1645023" y="1215162"/>
            <a:ext cx="6095999" cy="278483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6747828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ángulo 15"/>
          <p:cNvSpPr/>
          <p:nvPr/>
        </p:nvSpPr>
        <p:spPr>
          <a:xfrm>
            <a:off x="336795" y="301418"/>
            <a:ext cx="7818999" cy="113877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Sociedad Portuaria Regional de Buenaventura S.A   </a:t>
            </a:r>
          </a:p>
          <a:p>
            <a:pPr algn="ctr"/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36903" y="1632134"/>
            <a:ext cx="4996248" cy="28749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3453750"/>
              </p:ext>
            </p:extLst>
          </p:nvPr>
        </p:nvGraphicFramePr>
        <p:xfrm>
          <a:off x="1522874" y="4827868"/>
          <a:ext cx="609600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Inversión Programada</a:t>
                      </a:r>
                      <a:r>
                        <a:rPr lang="es-CO" baseline="0" dirty="0"/>
                        <a:t> 2016</a:t>
                      </a:r>
                      <a:r>
                        <a:rPr lang="es-CO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dirty="0"/>
                        <a:t>  Inversión</a:t>
                      </a:r>
                      <a:r>
                        <a:rPr lang="es-CO" baseline="0" dirty="0"/>
                        <a:t> Ejecutada a  Agosto de  2016</a:t>
                      </a:r>
                      <a:endParaRPr lang="es-C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 $ 69.677.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USD</a:t>
                      </a:r>
                      <a:r>
                        <a:rPr lang="es-CO" sz="18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 21.350.402 </a:t>
                      </a:r>
                      <a:endParaRPr lang="es-CO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9079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0394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ES" sz="280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Sociedad Portuaria Regional de Cartagena S.A    </a:t>
            </a:r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1977784"/>
              </p:ext>
            </p:extLst>
          </p:nvPr>
        </p:nvGraphicFramePr>
        <p:xfrm>
          <a:off x="1522874" y="4827868"/>
          <a:ext cx="609600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Inversión Programada</a:t>
                      </a:r>
                      <a:r>
                        <a:rPr lang="es-CO" baseline="0" dirty="0"/>
                        <a:t> 2016</a:t>
                      </a:r>
                      <a:r>
                        <a:rPr lang="es-CO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dirty="0"/>
                        <a:t> Inversión</a:t>
                      </a:r>
                      <a:r>
                        <a:rPr lang="es-CO" baseline="0" dirty="0"/>
                        <a:t> Ejecutada a  Agosto de  2016</a:t>
                      </a:r>
                      <a:endParaRPr lang="es-C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SD</a:t>
                      </a:r>
                      <a:r>
                        <a:rPr lang="es-CO" sz="18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 </a:t>
                      </a:r>
                      <a:r>
                        <a:rPr lang="es-CO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343.454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</a:t>
                      </a:r>
                      <a:r>
                        <a:rPr lang="es-CO" sz="18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  2.586.512 </a:t>
                      </a:r>
                      <a:endParaRPr lang="es-CO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Imagen 8" descr="http://www.eluniversal.com.co/sites/default/files/201201/imagen/contenedores.jpg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707" y="1355229"/>
            <a:ext cx="5397258" cy="300161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1848225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68857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andara"/>
              <a:ea typeface="MS PGothic"/>
              <a:cs typeface="Arial"/>
              <a:sym typeface="Candara"/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s-ES" sz="280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</a:rPr>
              <a:t>Sociedad Portuaria Terminal de Contenedores de Cartagena S.A </a:t>
            </a:r>
            <a:endParaRPr lang="es-CO" sz="2800" dirty="0"/>
          </a:p>
        </p:txBody>
      </p:sp>
      <p:pic>
        <p:nvPicPr>
          <p:cNvPr id="5" name="Imagen 4" descr="http://static.panoramio.com/photos/original/86949065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2874" y="1496453"/>
            <a:ext cx="5952677" cy="30352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6" name="Tab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2553008"/>
              </p:ext>
            </p:extLst>
          </p:nvPr>
        </p:nvGraphicFramePr>
        <p:xfrm>
          <a:off x="1522874" y="4827868"/>
          <a:ext cx="6096000" cy="1010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Inversión Programada</a:t>
                      </a:r>
                      <a:r>
                        <a:rPr lang="es-CO" baseline="0" dirty="0"/>
                        <a:t> 2016</a:t>
                      </a:r>
                      <a:r>
                        <a:rPr lang="es-CO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 Inversión</a:t>
                      </a:r>
                      <a:r>
                        <a:rPr lang="es-CO" baseline="0" dirty="0"/>
                        <a:t> Ejecutada a Agosto 2016</a:t>
                      </a:r>
                      <a:endParaRPr lang="es-C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 $ 13.600.000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 $</a:t>
                      </a:r>
                      <a:r>
                        <a:rPr lang="es-CO" sz="18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2.911.199 </a:t>
                      </a:r>
                      <a:endParaRPr lang="es-CO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41755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10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6773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Candara"/>
              <a:ea typeface="MS PGothic"/>
              <a:cs typeface="Arial"/>
              <a:sym typeface="Candara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1102659" y="215153"/>
            <a:ext cx="64142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andara" pitchFamily="34" charset="0"/>
                <a:ea typeface="+mj-ea"/>
                <a:cs typeface="+mj-cs"/>
              </a:rPr>
              <a:t>Sociedad Portuaria El </a:t>
            </a:r>
            <a:r>
              <a:rPr lang="es-CO" sz="2800" b="1" dirty="0" err="1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andara" pitchFamily="34" charset="0"/>
                <a:ea typeface="+mj-ea"/>
                <a:cs typeface="+mj-cs"/>
              </a:rPr>
              <a:t>Cayao</a:t>
            </a:r>
            <a:r>
              <a:rPr lang="es-CO" sz="2800" b="1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latin typeface="Candara" pitchFamily="34" charset="0"/>
                <a:ea typeface="+mj-ea"/>
                <a:cs typeface="+mj-cs"/>
              </a:rPr>
              <a:t> S.A E.S.P</a:t>
            </a:r>
          </a:p>
        </p:txBody>
      </p:sp>
      <p:pic>
        <p:nvPicPr>
          <p:cNvPr id="9" name="Imagen 8" descr="http://www.fundacionmamonal.org.co/media/14794/cayao%202.jpg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6377" y="1386876"/>
            <a:ext cx="5580529" cy="30372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9797778"/>
              </p:ext>
            </p:extLst>
          </p:nvPr>
        </p:nvGraphicFramePr>
        <p:xfrm>
          <a:off x="1751473" y="4816737"/>
          <a:ext cx="6096000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Inversión Programada</a:t>
                      </a:r>
                      <a:r>
                        <a:rPr lang="es-CO" baseline="0" dirty="0"/>
                        <a:t> 2016</a:t>
                      </a:r>
                      <a:r>
                        <a:rPr lang="es-CO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dirty="0"/>
                        <a:t> Inversión</a:t>
                      </a:r>
                      <a:r>
                        <a:rPr lang="es-CO" baseline="0" dirty="0"/>
                        <a:t> Ejecutada a  Agosto de  2016</a:t>
                      </a:r>
                      <a:endParaRPr lang="es-C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084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USD</a:t>
                      </a:r>
                      <a:r>
                        <a:rPr lang="es-CO" sz="18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  3.771.000 </a:t>
                      </a:r>
                      <a:endParaRPr lang="es-CO" sz="18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8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SD</a:t>
                      </a:r>
                      <a:r>
                        <a:rPr lang="es-CO" sz="18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$ 23.761.615,92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7612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G8OQMxAU2fzgqyNFJw2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6YG7AWgUWRMd25FpTc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RCDqDLnUKKaWj8jgUrB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4TQXXiyUC8b4FyZkv_v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bpHK1zfkyv__oiEBzGn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xZw5OffkWAiHIb.7HyM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CK NOTES INITIALS" val=""/>
  <p:tag name="RESIZE" val="Ye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LANTILLA ANI PPT</Template>
  <TotalTime>739</TotalTime>
  <Words>254</Words>
  <Application>Microsoft Office PowerPoint</Application>
  <PresentationFormat>Presentación en pantalla (4:3)</PresentationFormat>
  <Paragraphs>72</Paragraphs>
  <Slides>14</Slides>
  <Notes>14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23" baseType="lpstr">
      <vt:lpstr>MS PGothic</vt:lpstr>
      <vt:lpstr>Arial</vt:lpstr>
      <vt:lpstr>Calibri</vt:lpstr>
      <vt:lpstr>Candara</vt:lpstr>
      <vt:lpstr>Helvetica Neue Bold Condensed</vt:lpstr>
      <vt:lpstr>Impact</vt:lpstr>
      <vt:lpstr>Times New Roman</vt:lpstr>
      <vt:lpstr>plantilla ANI</vt:lpstr>
      <vt:lpstr>think-cell Slide</vt:lpstr>
      <vt:lpstr>Avances Modo Portuari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Sociedad Portuaria Regional de Cartagena S.A    </vt:lpstr>
      <vt:lpstr>Sociedad Portuaria Terminal de Contenedores de Cartagena S.A </vt:lpstr>
      <vt:lpstr>Presentación de PowerPoint</vt:lpstr>
      <vt:lpstr>Presentación de PowerPoint</vt:lpstr>
      <vt:lpstr>Sociedad Portuaria Oiltanking Colombia S.A.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l documento</dc:title>
  <dc:creator>Leonardo Garcia Duarte</dc:creator>
  <cp:lastModifiedBy>Ricardo Aguilera Wilches</cp:lastModifiedBy>
  <cp:revision>26</cp:revision>
  <dcterms:created xsi:type="dcterms:W3CDTF">2015-06-23T21:46:26Z</dcterms:created>
  <dcterms:modified xsi:type="dcterms:W3CDTF">2016-09-20T22:06:46Z</dcterms:modified>
</cp:coreProperties>
</file>